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388" r:id="rId2"/>
    <p:sldId id="359" r:id="rId3"/>
    <p:sldId id="360" r:id="rId4"/>
    <p:sldId id="361" r:id="rId5"/>
    <p:sldId id="362" r:id="rId6"/>
    <p:sldId id="363" r:id="rId7"/>
    <p:sldId id="364" r:id="rId8"/>
    <p:sldId id="365" r:id="rId9"/>
    <p:sldId id="366" r:id="rId10"/>
    <p:sldId id="367" r:id="rId11"/>
    <p:sldId id="368" r:id="rId12"/>
    <p:sldId id="369" r:id="rId13"/>
    <p:sldId id="370" r:id="rId14"/>
    <p:sldId id="371" r:id="rId15"/>
    <p:sldId id="372" r:id="rId16"/>
    <p:sldId id="314" r:id="rId17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2B84B7-17AC-4A27-BE25-06D40C00822B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Integration</a:t>
            </a:r>
            <a:br>
              <a:rPr lang="en-US" dirty="0" smtClean="0"/>
            </a:br>
            <a:r>
              <a:rPr lang="en-US" dirty="0" smtClean="0"/>
              <a:t>First Applications of Integr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Substitution Rule for Definite Integrals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The Area Between Curves</a:t>
            </a:r>
            <a:endParaRPr lang="en-US" sz="1000" dirty="0" smtClean="0"/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irst Applications of Integration</a:t>
            </a:r>
            <a:endParaRPr lang="en-US" sz="1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this gives the general formula for the area bounded by two graph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6885" y="1110809"/>
            <a:ext cx="2235370" cy="1243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3435846"/>
            <a:ext cx="5472608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3507855"/>
            <a:ext cx="5213202" cy="139982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18722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3" y="1189746"/>
            <a:ext cx="5333825" cy="17648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300" y="1049917"/>
            <a:ext cx="2483768" cy="1597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288656" cy="36325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regions are best treated by regarding </a:t>
            </a:r>
            <a:r>
              <a:rPr lang="en-US" i="1" dirty="0" smtClean="0"/>
              <a:t>x </a:t>
            </a:r>
            <a:r>
              <a:rPr lang="en-US" dirty="0" smtClean="0"/>
              <a:t>as a function of </a:t>
            </a:r>
            <a:r>
              <a:rPr lang="en-US" i="1" dirty="0" smtClean="0"/>
              <a:t>y</a:t>
            </a:r>
            <a:endParaRPr lang="en-US" dirty="0"/>
          </a:p>
        </p:txBody>
      </p:sp>
      <p:pic>
        <p:nvPicPr>
          <p:cNvPr id="2050" name="Picture 2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1804" y="1059582"/>
            <a:ext cx="230533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5658" y="3168595"/>
            <a:ext cx="230533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9"/>
            <a:ext cx="5288506" cy="37373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1965" y="1038802"/>
            <a:ext cx="2194876" cy="203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299699" cy="29090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1965" y="1038802"/>
            <a:ext cx="2194876" cy="203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8"/>
            <a:ext cx="5290887" cy="323004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value for the area is independent of the parameterization we used for the two curves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569" y="1114998"/>
            <a:ext cx="2230830" cy="1926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01007" cy="192605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order to compute an area between two curves, we play this problem back to the computation of areas between a curve and the </a:t>
            </a:r>
            <a:r>
              <a:rPr lang="en-US" i="1" dirty="0" smtClean="0"/>
              <a:t>x</a:t>
            </a:r>
            <a:r>
              <a:rPr lang="en-US" dirty="0" smtClean="0"/>
              <a:t>-axis …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4583" y="1125059"/>
            <a:ext cx="2159800" cy="1833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8722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3" y="1203599"/>
            <a:ext cx="5327255" cy="1668250"/>
          </a:xfrm>
          <a:prstGeom prst="rect">
            <a:avLst/>
          </a:prstGeom>
          <a:noFill/>
          <a:ln/>
          <a:effectLst/>
        </p:spPr>
      </p:pic>
      <p:sp>
        <p:nvSpPr>
          <p:cNvPr id="11" name="Raute 10"/>
          <p:cNvSpPr/>
          <p:nvPr/>
        </p:nvSpPr>
        <p:spPr>
          <a:xfrm>
            <a:off x="12700" y="12700"/>
            <a:ext cx="12700" cy="127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732072" y="3456528"/>
            <a:ext cx="2215983" cy="156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251520" y="3435846"/>
            <a:ext cx="5472608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3520" y="3507856"/>
            <a:ext cx="5332140" cy="10446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the known approximation of an area by Riemann sums …</a:t>
            </a:r>
            <a:endParaRPr lang="en-US" dirty="0"/>
          </a:p>
        </p:txBody>
      </p:sp>
      <p:grpSp>
        <p:nvGrpSpPr>
          <p:cNvPr id="3" name="Gruppieren 5"/>
          <p:cNvGrpSpPr/>
          <p:nvPr/>
        </p:nvGrpSpPr>
        <p:grpSpPr>
          <a:xfrm>
            <a:off x="193367" y="1073437"/>
            <a:ext cx="2218394" cy="3839942"/>
            <a:chOff x="193366" y="1074308"/>
            <a:chExt cx="2497535" cy="4323122"/>
          </a:xfrm>
        </p:grpSpPr>
        <p:pic>
          <p:nvPicPr>
            <p:cNvPr id="1027" name="Picture 3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37666" y="1074308"/>
              <a:ext cx="2448272" cy="2001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3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93366" y="3395550"/>
              <a:ext cx="2497535" cy="2001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1203598"/>
            <a:ext cx="5332791" cy="3446538"/>
          </a:xfrm>
          <a:prstGeom prst="rect">
            <a:avLst/>
          </a:prstGeom>
          <a:noFill/>
          <a:ln/>
          <a:effectLst/>
        </p:spPr>
      </p:pic>
      <p:sp>
        <p:nvSpPr>
          <p:cNvPr id="13" name="Abgerundetes Rechteck 12"/>
          <p:cNvSpPr/>
          <p:nvPr/>
        </p:nvSpPr>
        <p:spPr>
          <a:xfrm>
            <a:off x="3851920" y="3939902"/>
            <a:ext cx="4608512" cy="864096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their limit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4514" y="1121926"/>
            <a:ext cx="2191100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8722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1203599"/>
            <a:ext cx="5335696" cy="1705771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3147814"/>
            <a:ext cx="5472608" cy="18722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2" y="3205969"/>
            <a:ext cx="5332506" cy="1763779"/>
          </a:xfrm>
          <a:prstGeom prst="rect">
            <a:avLst/>
          </a:prstGeom>
          <a:noFill/>
          <a:ln/>
          <a:effectLst/>
        </p:spPr>
      </p:pic>
      <p:sp>
        <p:nvSpPr>
          <p:cNvPr id="12" name="Gefaltete Ecke 11"/>
          <p:cNvSpPr/>
          <p:nvPr/>
        </p:nvSpPr>
        <p:spPr>
          <a:xfrm>
            <a:off x="251520" y="3723878"/>
            <a:ext cx="2160240" cy="1152128"/>
          </a:xfrm>
          <a:prstGeom prst="foldedCorne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Notice that in the special case where </a:t>
            </a:r>
            <a:r>
              <a:rPr lang="en-US" sz="1100" i="1" dirty="0" smtClean="0">
                <a:solidFill>
                  <a:schemeClr val="tx1"/>
                </a:solidFill>
              </a:rPr>
              <a:t>g(x) = 0</a:t>
            </a:r>
            <a:r>
              <a:rPr lang="en-US" sz="1100" dirty="0" smtClean="0">
                <a:solidFill>
                  <a:schemeClr val="tx1"/>
                </a:solidFill>
              </a:rPr>
              <a:t>, </a:t>
            </a:r>
            <a:r>
              <a:rPr lang="en-US" sz="1100" i="1" dirty="0" smtClean="0">
                <a:solidFill>
                  <a:schemeClr val="tx1"/>
                </a:solidFill>
              </a:rPr>
              <a:t>S</a:t>
            </a:r>
            <a:r>
              <a:rPr lang="en-US" sz="1100" dirty="0" smtClean="0">
                <a:solidFill>
                  <a:schemeClr val="tx1"/>
                </a:solidFill>
              </a:rPr>
              <a:t> is the region between the graph of </a:t>
            </a:r>
            <a:r>
              <a:rPr lang="en-US" sz="1100" i="1" dirty="0" smtClean="0">
                <a:solidFill>
                  <a:schemeClr val="tx1"/>
                </a:solidFill>
              </a:rPr>
              <a:t>f</a:t>
            </a:r>
            <a:r>
              <a:rPr lang="en-US" sz="1100" dirty="0" smtClean="0">
                <a:solidFill>
                  <a:schemeClr val="tx1"/>
                </a:solidFill>
              </a:rPr>
              <a:t> and the </a:t>
            </a:r>
            <a:r>
              <a:rPr lang="en-US" sz="1100" i="1" dirty="0" smtClean="0">
                <a:solidFill>
                  <a:schemeClr val="tx1"/>
                </a:solidFill>
              </a:rPr>
              <a:t>x</a:t>
            </a:r>
            <a:r>
              <a:rPr lang="en-US" sz="1100" dirty="0" smtClean="0">
                <a:solidFill>
                  <a:schemeClr val="tx1"/>
                </a:solidFill>
              </a:rPr>
              <a:t>-axis such that our general definition of an area reduces to our previous definition.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8447" y="1145443"/>
            <a:ext cx="2152701" cy="1597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6" y="1203597"/>
            <a:ext cx="5275084" cy="1544422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6" y="2966256"/>
            <a:ext cx="5286108" cy="18965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order to evaluate the area integral correctly, we need to identify the top curve </a:t>
            </a:r>
            <a:r>
              <a:rPr lang="en-US" i="1" dirty="0" err="1" smtClean="0"/>
              <a:t>y</a:t>
            </a:r>
            <a:r>
              <a:rPr lang="en-US" i="1" baseline="-25000" dirty="0" err="1" smtClean="0"/>
              <a:t>T</a:t>
            </a:r>
            <a:r>
              <a:rPr lang="en-US" dirty="0" smtClean="0"/>
              <a:t> and the bottom curve </a:t>
            </a:r>
            <a:r>
              <a:rPr lang="en-US" i="1" dirty="0" err="1" smtClean="0"/>
              <a:t>y</a:t>
            </a:r>
            <a:r>
              <a:rPr lang="en-US" i="1" baseline="-25000" dirty="0" err="1" smtClean="0"/>
              <a:t>B</a:t>
            </a:r>
            <a:endParaRPr lang="en-US" i="1" baseline="-25000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24664"/>
            <a:ext cx="2182235" cy="1563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2" y="1203598"/>
            <a:ext cx="5333046" cy="291690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1145718"/>
            <a:ext cx="2341870" cy="161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02593" cy="31015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bounded by curves 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1145718"/>
            <a:ext cx="2341870" cy="161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8"/>
            <a:ext cx="5096242" cy="1128517"/>
          </a:xfrm>
          <a:prstGeom prst="rect">
            <a:avLst/>
          </a:prstGeom>
          <a:noFill/>
          <a:ln/>
          <a:effectLst/>
        </p:spPr>
      </p:pic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512457"/>
            <a:ext cx="4693939" cy="16946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an extend our formula for the are between two curves to situations where the top and bottom curves change on consecutive intervals …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6885" y="1110809"/>
            <a:ext cx="2235370" cy="1243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8"/>
            <a:ext cx="5303084" cy="30569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5,8794"/>
  <p:tag name="ORIGINALWIDTH" val="3358,081"/>
  <p:tag name="LATEXADDIN" val="\documentclass{article}\pagestyle{empty}&#10;\usepackage{amsmath}&#10;\usepackage{amsfonts}&#10;\usepackage{amssymb}&#10;\begin{document}&#10;\begin{minipage}{9.5 cm}&#10;{\sffamily{&#10;Consider the region $S$, that is parametrized as&#10;$$&#10;S \, \, = \, \, \left\{ \, (x, y) \, : \, a \, \leq \, x \, \leq \, b \, , \, g(x) \, \leq \, f(x) \, \right\}&#10;$$&#10;and that lies between two curves $y = f(x)$ and $y = g(x)$ and between the vertical lines $x=a$ and $x=b$, where $f$ and $g$ are continuous functions and $f(x) \geq g(x)$ for all $x \in [a,b]$.&#10;}}&#10;\end{minipage}&#10;\end{document}"/>
  <p:tag name="IGUANATEXSIZE" val="20"/>
  <p:tag name="IGUANATEXCURSOR" val="2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4,4245"/>
  <p:tag name="ORIGINALWIDTH" val="3361,08"/>
  <p:tag name="LATEXADDIN" val="\documentclass{article}\pagestyle{empty}&#10;\usepackage{amsmath}&#10;\usepackage{amsfonts}&#10;\usepackage{amssymb}&#10;\begin{document}&#10;\begin{minipage}{9.5 cm}&#10;{\sffamily{&#10;We divide $S$ into $n$ strips of equal width and then we approximate the $i$th strip by a rectangle with base $\Delta x$ and height $f(x_i^*) - g(x_i^*)$.\\[1mm]&#10;If we like, we could take all of the sample points to be right endpoints, in which case $x_i^* - x_i$.&#10;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4,001"/>
  <p:tag name="ORIGINALWIDTH" val="3360,33"/>
  <p:tag name="LATEXADDIN" val="\documentclass{article}\pagestyle{empty}&#10;\usepackage{amsmath}&#10;\usepackage{amsfonts}&#10;\usepackage{amssymb}&#10;\begin{document}&#10;\begin{minipage}{9.5 cm}&#10;{\sffamily{&#10;The Riemann sum&#10;$$&#10;\sum^n_{i=1} \left( f(x_i^*) - g(x_i^*) \right) \Delta x&#10;$$&#10;is therefore an approximation to what we intuitively think of as the area of $S$.\\[2mm]&#10;This approximation appears to become better as $n \to \infty$. Therefore we define the {\bf{area $A$}} of the region $S$ as the limiting value of the sum of the areas of these approximating rectangles:&#10;$$&#10;A \, \, = \, \, \lim_{n \to \infty} \, \sum^n_{i=1} \left( f(x_i^*) - g(x_i^*) \right) \, \Delta x&#10;$$&#10;&#10;}}&#10;\end{minipage}&#10;\end{document}"/>
  <p:tag name="IGUANATEXSIZE" val="20"/>
  <p:tag name="IGUANATEXCURSOR" val="6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6,8767"/>
  <p:tag name="ORIGINALWIDTH" val="3361,83"/>
  <p:tag name="LATEXADDIN" val="\documentclass{article}\pagestyle{empty}&#10;\usepackage{amsmath}&#10;\usepackage{amsfonts}&#10;\usepackage{amssymb}&#10;\begin{document}&#10;\begin{minipage}{9.5 cm}&#10;{\sffamily{&#10;We recognize that the limit in&#10;$$&#10;A \, \, = \, \, \lim_{n \to \infty} \, \sum^n_{i=1} \left( f(x_i^*) - g(x_i^*) \right) \, \Delta x&#10;$$&#10;as the definite integral of $f-g$. Therefore, we have the following formula for an area:&#10;}}&#10;\end{minipage}&#10;\end{document}"/>
  <p:tag name="IGUANATEXSIZE" val="20"/>
  <p:tag name="IGUANATEXCURSOR" val="3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7,623"/>
  <p:tag name="ORIGINALWIDTH" val="3358,83"/>
  <p:tag name="LATEXADDIN" val="\documentclass{article}\pagestyle{empty}&#10;\usepackage{amsmath}&#10;\usepackage{amsfonts}&#10;\usepackage{amssymb}&#10;\begin{document}&#10;\begin{minipage}{9.5 cm}&#10;{\sffamily{&#10;{\bf{Proposition: (Area Bounded by two Graphs)}}\\[1mm]&#10;The area $A$ of the region bounded by the curves $y = f(x)$, $y = g(x)$, and the lines $x=a$, $x=b$, where $f$ and $g$ are continuous and $f(x) \geq g(x)$ for all $x \in [a,b]$, is\\[-1mm]&#10;$$&#10;A \, \, = \, \, \int^b_a \, \left( f(x) - g(x) \right) \, \textrm{d} x \, .&#10;$$&#10;}}&#10;\end{minipage}&#10;\end{document}"/>
  <p:tag name="IGUANATEXSIZE" val="20"/>
  <p:tag name="IGUANATEXCURSOR" val="4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7,3866"/>
  <p:tag name="ORIGINALWIDTH" val="3350,581"/>
  <p:tag name="LATEXADDIN" val="\documentclass{article}\pagestyle{empty}&#10;\usepackage{amsmath}&#10;\usepackage{amsfonts}&#10;\usepackage{amssymb}&#10;\begin{document}&#10;\begin{minipage}{9.5 cm}&#10;{\sffamily{&#10;{\bf{Example:}}\\[1mm]&#10;Find the area of the region bounded above by $y = {\rm{e}}^x$, bounded below by $y = x$, and bounded on the sides by $x = 0$ and $x = 1$.\\&#10;&#10;{\bf{Solution:}}\\[1mm]&#10;Sketch the situation first!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4,361"/>
  <p:tag name="ORIGINALWIDTH" val="3358,081"/>
  <p:tag name="LATEXADDIN" val="\documentclass{article}\pagestyle{empty}&#10;\usepackage{amsmath}&#10;\usepackage{amsfonts}&#10;\usepackage{amssymb}&#10;\begin{document}&#10;\begin{minipage}{9.5 cm}&#10;{\sffamily{&#10;The upper boundary curve is $y = {\rm{e}}^x$ and the lower boundary curve is $y = x$. So we use the area formula with $f(x) = {\rm{e}}^x$, $g(x) = x$, $a = 0$, and $b = 1$:&#10;\begin{eqnarray*}&#10;A &amp; = &amp; \int^1_0 \left( {\rm{e}}^x - x \right) \textrm{d} x \, \, = \, \, \Big[ {\rm{e}}^x - \tfrac{1}{2} x^2 \Big]^1_0\\[2mm]&#10;&amp; = &amp;&#10;{\rm{e}} - \tfrac{1}{2} - 1 \, \, = \, \, {\rm{e}} - 1.5 \, .&#10;\end{eqnarray*}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87,289"/>
  <p:tag name="ORIGINALWIDTH" val="3359,58"/>
  <p:tag name="LATEXADDIN" val="\documentclass{article}\pagestyle{empty}&#10;\usepackage{amsmath}&#10;\usepackage{amsfonts}&#10;\usepackage{amssymb}&#10;\begin{document}&#10;\begin{minipage}{9.5 cm}&#10;{\sffamily{&#10;In general, when we set up an integral for an area, it's helpful to sketch the region to identify the top curve $y_T$, the bottom curve $y_B$, and a typical approximating rectangle.\\[2mm]&#10;Then the area of a typical rectangle is $\left( y_T - y_B \right) \Delta x$ and the equation&#10;$$&#10;A \, \, = \, \, \lim_{n \to \infty} \, \sum^n_{i=1} \left( y_T - y_B \right) \, \Delta \, \, = \, \, \int^b_a \left( y_T - y_B \right) \textrm{d} x&#10;$$&#10;summarizes the procedure of adding (in a limiting sense) the areas of all the typical rectangles.&#10;}}&#10;\end{minipage}&#10;\end{document}"/>
  <p:tag name="IGUANATEXSIZE" val="20"/>
  <p:tag name="IGUANATEXCURSOR" val="3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7,773"/>
  <p:tag name="ORIGINALWIDTH" val="3362,58"/>
  <p:tag name="LATEXADDIN" val="\documentclass{article}\pagestyle{empty}&#10;\usepackage{amsmath}&#10;\usepackage{amsfonts}&#10;\usepackage{amssymb}&#10;\begin{document}&#10;\begin{minipage}{9.5 cm}&#10;{\sffamily{&#10;{\bf{Example:}}\\[1mm]&#10;Find the area of the region enclosed by the parabolas $y = x^2$ and $y = 2x - x^2$.\\&#10;&#10;{\bf{Solution:}}\\[1mm]&#10;We first find the points of intersection of the parabolas by solving their equations simultaneously. This gives&#10;$$&#10;x^2 \, \, = \, \, 2x - x^2 \quad \Longrightarrow \quad 0 \, \, = \, \, 2 x^2 \, - \, 2x \, \, = \, \, 2x(x-1) \, ,&#10;$$&#10;so $x=0$ or $x=1$.\\[1mm] The points of intersection are $(0,0)$ and $(1,1)$.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60,6675"/>
  <p:tag name="ORIGINALWIDTH" val="3229,846"/>
  <p:tag name="LATEXADDIN" val="\documentclass{article}\pagestyle{empty}&#10;\usepackage{amsmath}&#10;\usepackage{amsfonts}&#10;\usepackage{amssymb}&#10;\begin{document}&#10;\begin{minipage}{9.6 cm}&#10;{\sffamily{&#10;The area of a typical rectangle is&#10;$$&#10;\left( y_T - y_B \right) \, \Delta x \, \, = \, \, \left( 2x - x^2 - x^2 \right) \, \Delta x \, \, = \, \, \left( 2x - 2x^2 \right) \, \Delta x&#10;$$&#10;and the region lies between $x = 0$ and $x = 1$.&#10;}}&#10;\end{minipage}&#10;\end{document}"/>
  <p:tag name="IGUANATEXSIZE" val="20"/>
  <p:tag name="IGUANATEXCURSOR" val="3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2,126"/>
  <p:tag name="ORIGINALWIDTH" val="2974,878"/>
  <p:tag name="LATEXADDIN" val="\documentclass{article}\pagestyle{empty}&#10;\usepackage{amsmath}&#10;\usepackage{amsfonts}&#10;\usepackage{amssymb}&#10;\begin{document}&#10;\begin{minipage}{9.6 cm}&#10;{\sffamily{&#10;So the total area is&#10;\begin{eqnarray*}&#10;A &amp; = &amp; \int^1_0 \left( 2x - 2x^2 \right) \textrm{d} x \, \, = \, \, 2 \, \int^1_0 \left( x - x^2 \right) \textrm{d} x \\[2mm]&#10;&amp; = &amp;&#10;2 \, \left[ \frac{x^2}{2} - \frac{x^3}{3} \right]^1_0 \, \, = \, \, 2 \left( \tfrac{1}{2} - \tfrac{1}{3} \right) \, \, = \, \, \tfrac{1}{3} \, .&#10;\end{eqnarray*}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4,777"/>
  <p:tag name="ORIGINALWIDTH" val="3361,08"/>
  <p:tag name="LATEXADDIN" val="\documentclass{article}\pagestyle{empty}&#10;\usepackage{amsmath}&#10;\usepackage{amsfonts}&#10;\usepackage{amssymb}&#10;\begin{document}&#10;\begin{minipage}{9.5 cm}&#10;{\sffamily{&#10;If we are asked to find the area between the curves $y = f(x)$ and $y = g(x)$ where $f(x) \geq g(x)$ for some values of $x$ but $g(x) \geq f(x)$ for other values of $x$, then we split the given region $S$ into several regions $S_1, S_2, \dots$ with areas $A_1, A_2, \dots$.\\[1mm]&#10;We then define the area of the region $S$ to be the sum of the areas of the smaller regions $S_1, S_2, \dots$, that is, $A = A_1 + A_2 + \dots$. Since&#10;$$&#10;\left| f(x) - g(x) \right| \, \, = \, \left\{ \begin{array}{r c l}&#10;f(x) - g(x) &amp; &amp; \text{when $f(x) \geq g(x)$}\\[1mm]&#10;g(x) - f(x) &amp; &amp; \text{when $g(x) \geq f(x)$}&#10;\end{array} \right.&#10;$$&#10;we have the following expression for $A$.&#10;}}&#10;\end{minipage}&#10;\end{document}"/>
  <p:tag name="IGUANATEXSIZE" val="20"/>
  <p:tag name="IGUANATEXCURSOR" val="7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09,1489"/>
  <p:tag name="ORIGINALWIDTH" val="3283,84"/>
  <p:tag name="LATEXADDIN" val="\documentclass{article}\pagestyle{empty}&#10;\usepackage{amsmath}&#10;\usepackage{amsfonts}&#10;\usepackage{amssymb}&#10;\begin{document}&#10;\begin{minipage}{9.5 cm}&#10;{\sffamily{&#10;However, when evaluating the integral&#10;$$&#10;A \, \, = \, \, \int^b_a \, \left| f(x) - g(x) \right| \, \textrm{d} x&#10;$$&#10;we must still split it into integrals corresponding to $A_1$, $A_2$, \dots&#10;}}&#10;\end{minipage}&#10;\end{document}"/>
  <p:tag name="IGUANATEXSIZE" val="20"/>
  <p:tag name="IGUANATEXCURSOR" val="3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7,623"/>
  <p:tag name="ORIGINALWIDTH" val="3358,83"/>
  <p:tag name="LATEXADDIN" val="\documentclass{article}\pagestyle{empty}&#10;\usepackage{amsmath}&#10;\usepackage{amsfonts}&#10;\usepackage{amssymb}&#10;\begin{document}&#10;\begin{minipage}{9.5 cm}&#10;{\sffamily{&#10;{\bf{Proposition: (Area Bounded by two Graphs)}}\\[1mm]&#10;The area $A$ of the region bounded by the curves $y = f(x)$, $y = g(x)$, and the lines $x=a$, $x=b$, where $f$ and $g$ are continuous, is\\[-1mm]&#10;$$&#10;A \, \, = \, \, \int^b_a \, \left| f(x) - g(x) \right| \, \textrm{d} x \, .&#10;$$&#10;}}&#10;\end{minipage}&#10;\end{document}"/>
  <p:tag name="IGUANATEXSIZE" val="20"/>
  <p:tag name="IGUANATEXCURSOR" val="4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2,235"/>
  <p:tag name="ORIGINALWIDTH" val="3352,081"/>
  <p:tag name="LATEXADDIN" val="\documentclass{article}\pagestyle{empty}&#10;\usepackage{amsmath}&#10;\usepackage{amsfonts}&#10;\usepackage{amssymb}&#10;\begin{document}&#10;\begin{minipage}{9.5 cm}&#10;{\sffamily{&#10;{\bf{Example:}}\\[1mm]&#10;Find the area of the region bounded by the curves $y = \sin(x)$, $y = \cos(x)$, $x = 0$, and $x = \frac{\pi}{2}$.\\&#10;&#10;{\bf{Solution:}}\\[1mm]&#10;The points of intersection occur when $\sin(x) = \cos(x)$, that is, when $x = \frac{\pi}{4}$  (since $0 \leq x \leq \frac{\pi}{2}$).\\[2mm]&#10;We notice, that the region is symmetric about $\frac{\pi}{4}$ and so&#10;\begin{eqnarray*}&#10;A &amp; = &amp; 2 A_1 \, \, = \, \, 2 \int^{\pi/4}_0 \left( \cos(x) - \sin(x) \right) \textrm{d} x \\[1mm]&#10;&amp; = &amp;&#10;2 \, \Big[ \sin(x) + \cos(x) \Big]_0^{\pi/4} \, \, = \, \, 2 \sqrt{2} - 2 \, .&#10;\end{eqnarray*}&#10;}}&#10;\end{minipage}&#10;\end{document}"/>
  <p:tag name="IGUANATEXSIZE" val="20"/>
  <p:tag name="IGUANATEXCURSOR" val="4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5,227"/>
  <p:tag name="ORIGINALWIDTH" val="3352,081"/>
  <p:tag name="LATEXADDIN" val="\documentclass{article}\pagestyle{empty}&#10;\usepackage{amsmath}&#10;\usepackage{amsfonts}&#10;\usepackage{amssymb}&#10;\begin{document}&#10;\begin{minipage}{9.5 cm}&#10;{\sffamily{&#10;If a region is bounded by curves with equations&#10;$$&#10;x \, \, = \, \, f(y) \, , \quad x \, \, = \, \, g(y) \, , \quad y \, \, = \, \, c \, , \quad \text{and} \quad y \, \, = \, \, d \, ,&#10;$$&#10;where $f$ and $g$ are continuous and $f(y) \geq g(y)$ for $c \leq y \leq d$, then its area is\\[-2mm]&#10;$$&#10;A \, \, = \, \, \int^d_c \left( f(y) - g(y) \right) \textrm{d} y&#10;$$&#10;If we write $x_R$ for the right boundary and $x_L$ for the left boundary, then we have&#10;$$&#10;A \, \, = \, \, \int^d_c \left( x_R - x_L \right) \textrm{d} y&#10;$$&#10;Here, a typical approximating rectangle has dimensions $x_R - x_L$ and $\Delta y$.&#10;}}&#10;\end{minipage}&#10;\end{document}"/>
  <p:tag name="IGUANATEXSIZE" val="20"/>
  <p:tag name="IGUANATEXCURSOR" val="4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4,537"/>
  <p:tag name="ORIGINALWIDTH" val="3360,33"/>
  <p:tag name="LATEXADDIN" val="\documentclass{article}\pagestyle{empty}&#10;\usepackage{amsmath}&#10;\usepackage{amsfonts}&#10;\usepackage{amssymb}&#10;\begin{document}&#10;\begin{minipage}{9.5 cm}&#10;{\sffamily{&#10;{\bf{Example:}}\\[1mm]&#10;Find the area of the region enclosed by the line $y = x-1$ and the parabola $y^2 = 2x + 6$.\\&#10;&#10;{\bf{Solution:}}\\[1mm]&#10;By solving the two equations we find that the points of intersection are $(-1, -2)$ and $(5, 4)$.\\[1mm]&#10;We solve the equation of the parabola for $x$ and notice from the figure that the left and right boundary curves are&#10;$$&#10;x_L \, \, = \, \, \tfrac{1}{2} y^2 \, - \, 3 \qquad \text{and} \qquad&#10;x_R \, \, = \, \, y \, + \, 1&#10;$$&#10;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2,014"/>
  <p:tag name="ORIGINALWIDTH" val="3353,581"/>
  <p:tag name="LATEXADDIN" val="\documentclass{article}\pagestyle{empty}&#10;\usepackage{amsmath}&#10;\usepackage{amsfonts}&#10;\usepackage{amssymb}&#10;\begin{document}&#10;\begin{minipage}{9.5 cm}&#10;{\sffamily{&#10;We must integrate between the appropriate $y$-values, $y = -2$ and $y = 4$. Thus&#10;\begin{eqnarray*}&#10;A &amp; = &amp;&#10;\int^4_{-2} \left( x_R - x_L \right) \textrm{d} y \, \, = \, \,&#10;\int^4_{-2} \left( \left( y+1 \right) - \left( \tfrac{1}{2} y^2 - 3 \right) \right) \textrm{d} y\\[2mm]&#10;&amp; = &amp;&#10;\int^4_{-2} \left( -\tfrac{1}{2} y^2 + y + 4 \right) \textrm{d} y \\[2mm]&#10;&amp; = &amp;&#10;\left[ -\tfrac{1}{2} \left( \frac{y^3}{3} \right) + \frac{y^2}{2} + 4 y \right]^4_{-2} \\[2mm]&#10;&amp; = &amp;&#10;-\tfrac{1}{6} \cdot 64 + 8 + 16 - \left( \tfrac{4}{3} + 2 - 8 \right) \, \, = \, \, 18 \, .&#10;\end{eqnarray*}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7,109"/>
  <p:tag name="ORIGINALWIDTH" val="3361,08"/>
  <p:tag name="LATEXADDIN" val="\documentclass{article}\pagestyle{empty}&#10;\usepackage{amsmath}&#10;\usepackage{amsfonts}&#10;\usepackage{amssymb}&#10;\begin{document}&#10;\begin{minipage}{9.5 cm}&#10;{\sffamily{&#10;We could have found the area in this example by integrating with respect to $x$ instead of $y$, but the calculation is much more involved.\\[2mm]&#10;Because the bottom boundary consists of two different curves, it would have meant splitting the region in two and&#10;computing the areas labeled $A_1$ and $A_2$ in the figure.\\[2mm]&#10;The method we used is much easier.}}&#10;\end{minipage}&#10;\end{document}"/>
  <p:tag name="IGUANATEXSIZE" val="20"/>
  <p:tag name="IGUANATEXCURSOR" val="5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2</Words>
  <Application>Microsoft Office PowerPoint</Application>
  <PresentationFormat>Bildschirmpräsentation (16:9)</PresentationFormat>
  <Paragraphs>24</Paragraphs>
  <Slides>16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7" baseType="lpstr">
      <vt:lpstr>Larissa-Design</vt:lpstr>
      <vt:lpstr>Calculus I for MGMT – Integration First Applications of Integration</vt:lpstr>
      <vt:lpstr>In order to compute an area between two curves, we play this problem back to the computation of areas between a curve and the x-axis …</vt:lpstr>
      <vt:lpstr>… and the known approximation of an area by Riemann sums …</vt:lpstr>
      <vt:lpstr>… and their limits</vt:lpstr>
      <vt:lpstr>Example: Area bounded by curves </vt:lpstr>
      <vt:lpstr>In order to evaluate the area integral correctly, we need to identify the top curve yT and the bottom curve yB</vt:lpstr>
      <vt:lpstr>Example: Area bounded by curves </vt:lpstr>
      <vt:lpstr>Example: Area bounded by curves </vt:lpstr>
      <vt:lpstr>We can extend our formula for the are between two curves to situations where the top and bottom curves change on consecutive intervals …</vt:lpstr>
      <vt:lpstr>… this gives the general formula for the area bounded by two graphs</vt:lpstr>
      <vt:lpstr>Example: Area bounded by curves </vt:lpstr>
      <vt:lpstr>Some regions are best treated by regarding x as a function of y</vt:lpstr>
      <vt:lpstr>Example: Area bounded by curves </vt:lpstr>
      <vt:lpstr>Example: Area bounded by curves </vt:lpstr>
      <vt:lpstr>The value for the area is independent of the parameterization we used for the two curve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4</cp:revision>
  <dcterms:created xsi:type="dcterms:W3CDTF">2020-04-04T18:50:50Z</dcterms:created>
  <dcterms:modified xsi:type="dcterms:W3CDTF">2023-02-22T12:00:13Z</dcterms:modified>
</cp:coreProperties>
</file>